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9"/>
  </p:notesMasterIdLst>
  <p:sldIdLst>
    <p:sldId id="324" r:id="rId3"/>
    <p:sldId id="325" r:id="rId4"/>
    <p:sldId id="332" r:id="rId5"/>
    <p:sldId id="333" r:id="rId6"/>
    <p:sldId id="342" r:id="rId7"/>
    <p:sldId id="336" r:id="rId8"/>
    <p:sldId id="337" r:id="rId9"/>
    <p:sldId id="338" r:id="rId10"/>
    <p:sldId id="339" r:id="rId11"/>
    <p:sldId id="326" r:id="rId12"/>
    <p:sldId id="327" r:id="rId13"/>
    <p:sldId id="328" r:id="rId14"/>
    <p:sldId id="340" r:id="rId15"/>
    <p:sldId id="341" r:id="rId16"/>
    <p:sldId id="329" r:id="rId17"/>
    <p:sldId id="330" r:id="rId18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0000"/>
    <a:srgbClr val="C00000"/>
    <a:srgbClr val="FF99FF"/>
    <a:srgbClr val="FFCCFF"/>
    <a:srgbClr val="CC99FF"/>
    <a:srgbClr val="FA0000"/>
    <a:srgbClr val="FF5757"/>
    <a:srgbClr val="FF3737"/>
    <a:srgbClr val="EDF58B"/>
    <a:srgbClr val="DBE6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48" autoAdjust="0"/>
    <p:restoredTop sz="94660"/>
  </p:normalViewPr>
  <p:slideViewPr>
    <p:cSldViewPr>
      <p:cViewPr>
        <p:scale>
          <a:sx n="100" d="100"/>
          <a:sy n="100" d="100"/>
        </p:scale>
        <p:origin x="-798" y="5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dirty="0" smtClean="0">
            <a:solidFill>
              <a:schemeClr val="bg1"/>
            </a:solidFill>
          </a:endParaRPr>
        </a:p>
        <a:p>
          <a:pPr marL="0" marR="0" indent="0" algn="ctr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endParaRPr lang="ru-RU" sz="1400" b="1" dirty="0" smtClean="0">
            <a:solidFill>
              <a:schemeClr val="bg1"/>
            </a:solidFill>
          </a:endParaRP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 custScaleY="8972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 custScaleY="98388" custLinFactNeighborX="776" custLinFactNeighborY="-15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ScaleY="114973" custLinFactNeighborX="-4021" custLinFactNeighborY="-22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6D969F9-FB44-485D-8350-BB6D2C1F4E48}" type="presOf" srcId="{2BCEAB64-79E1-4190-90C6-94A8105E1D4B}" destId="{EBBA0041-A843-441C-87AB-8F637576AE6A}" srcOrd="0" destOrd="0" presId="urn:microsoft.com/office/officeart/2005/8/layout/pyramid1"/>
    <dgm:cxn modelId="{6DCF0186-03A6-4CCC-8F58-E06001AD54DA}" type="presOf" srcId="{3F883D72-AB51-44A3-BB69-C25E95E42149}" destId="{CC9EFA65-A778-457A-93C6-B9548DB6D4C8}" srcOrd="0" destOrd="0" presId="urn:microsoft.com/office/officeart/2005/8/layout/pyramid1"/>
    <dgm:cxn modelId="{0CA38A9A-B70C-4895-91FD-E7CC53E3EA2C}" type="presOf" srcId="{BE6152E8-A7B0-429C-AE48-E84F07208D3F}" destId="{AE7E8AE7-164D-44BD-BE40-BDE74B4818F7}" srcOrd="1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BB81741E-C752-4F73-81F7-E789A257714A}" type="presOf" srcId="{3F883D72-AB51-44A3-BB69-C25E95E42149}" destId="{0705155B-A724-47C1-A128-C5DF09EE6B97}" srcOrd="1" destOrd="0" presId="urn:microsoft.com/office/officeart/2005/8/layout/pyramid1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12CA3F30-C5C1-4CF4-8FF8-B319731A515B}" type="presOf" srcId="{4910AFE8-F8C6-4CA2-8717-10C0C4F9D54E}" destId="{7C3E26E5-8345-4B58-ADD7-8E425EA260AA}" srcOrd="0" destOrd="0" presId="urn:microsoft.com/office/officeart/2005/8/layout/pyramid1"/>
    <dgm:cxn modelId="{666444C5-53FD-4652-8C2D-0FB270AF2898}" type="presOf" srcId="{BE6152E8-A7B0-429C-AE48-E84F07208D3F}" destId="{41B0729E-585F-4A7E-A894-AA6DFF53CF58}" srcOrd="0" destOrd="0" presId="urn:microsoft.com/office/officeart/2005/8/layout/pyramid1"/>
    <dgm:cxn modelId="{31BBDC24-A4BC-4CF5-852B-583D6242DC7B}" type="presOf" srcId="{2BCEAB64-79E1-4190-90C6-94A8105E1D4B}" destId="{2B7C2DCE-4CF1-4FE5-90E9-E7B7B569F09C}" srcOrd="1" destOrd="0" presId="urn:microsoft.com/office/officeart/2005/8/layout/pyramid1"/>
    <dgm:cxn modelId="{F15CFD88-11C4-4CE2-A332-E40B97B787A9}" type="presParOf" srcId="{7C3E26E5-8345-4B58-ADD7-8E425EA260AA}" destId="{04E3F3C2-2FFE-4908-A86D-328E43B3294A}" srcOrd="0" destOrd="0" presId="urn:microsoft.com/office/officeart/2005/8/layout/pyramid1"/>
    <dgm:cxn modelId="{91B36E53-469B-4112-BC7D-E2417FA9424A}" type="presParOf" srcId="{04E3F3C2-2FFE-4908-A86D-328E43B3294A}" destId="{41B0729E-585F-4A7E-A894-AA6DFF53CF58}" srcOrd="0" destOrd="0" presId="urn:microsoft.com/office/officeart/2005/8/layout/pyramid1"/>
    <dgm:cxn modelId="{73D499CF-26DB-4309-BFE2-A4636C9CC8D5}" type="presParOf" srcId="{04E3F3C2-2FFE-4908-A86D-328E43B3294A}" destId="{AE7E8AE7-164D-44BD-BE40-BDE74B4818F7}" srcOrd="1" destOrd="0" presId="urn:microsoft.com/office/officeart/2005/8/layout/pyramid1"/>
    <dgm:cxn modelId="{2558FE29-6E46-4160-B68C-557BCA0B7A2E}" type="presParOf" srcId="{7C3E26E5-8345-4B58-ADD7-8E425EA260AA}" destId="{189E913C-2543-4D0F-9CBF-BF9B2CF8E0DA}" srcOrd="1" destOrd="0" presId="urn:microsoft.com/office/officeart/2005/8/layout/pyramid1"/>
    <dgm:cxn modelId="{4E75FFC7-A415-4492-B64B-FBEC281617B1}" type="presParOf" srcId="{189E913C-2543-4D0F-9CBF-BF9B2CF8E0DA}" destId="{EBBA0041-A843-441C-87AB-8F637576AE6A}" srcOrd="0" destOrd="0" presId="urn:microsoft.com/office/officeart/2005/8/layout/pyramid1"/>
    <dgm:cxn modelId="{AFDAAE8A-5D9E-43B6-8A0E-76DD30257FF2}" type="presParOf" srcId="{189E913C-2543-4D0F-9CBF-BF9B2CF8E0DA}" destId="{2B7C2DCE-4CF1-4FE5-90E9-E7B7B569F09C}" srcOrd="1" destOrd="0" presId="urn:microsoft.com/office/officeart/2005/8/layout/pyramid1"/>
    <dgm:cxn modelId="{B2484A04-2350-46CA-86A5-44965028823C}" type="presParOf" srcId="{7C3E26E5-8345-4B58-ADD7-8E425EA260AA}" destId="{C7701B75-B313-4FD6-9404-F77707EEE284}" srcOrd="2" destOrd="0" presId="urn:microsoft.com/office/officeart/2005/8/layout/pyramid1"/>
    <dgm:cxn modelId="{5064B656-09F2-4F1F-9BFB-066E59394759}" type="presParOf" srcId="{C7701B75-B313-4FD6-9404-F77707EEE284}" destId="{CC9EFA65-A778-457A-93C6-B9548DB6D4C8}" srcOrd="0" destOrd="0" presId="urn:microsoft.com/office/officeart/2005/8/layout/pyramid1"/>
    <dgm:cxn modelId="{9D5D75C2-4615-4A53-B74F-5E1B978A74B9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875538" y="0"/>
          <a:ext cx="1577515" cy="1394996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75538" y="0"/>
        <a:ext cx="1577515" cy="1394996"/>
      </dsp:txXfrm>
    </dsp:sp>
    <dsp:sp modelId="{EBBA0041-A843-441C-87AB-8F637576AE6A}">
      <dsp:nvSpPr>
        <dsp:cNvPr id="0" name=""/>
        <dsp:cNvSpPr/>
      </dsp:nvSpPr>
      <dsp:spPr>
        <a:xfrm>
          <a:off x="1036328" y="1392540"/>
          <a:ext cx="3307264" cy="1529616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15099" y="1392540"/>
        <a:ext cx="2149721" cy="1529616"/>
      </dsp:txXfrm>
    </dsp:sp>
    <dsp:sp modelId="{CC9EFA65-A778-457A-93C6-B9548DB6D4C8}">
      <dsp:nvSpPr>
        <dsp:cNvPr id="0" name=""/>
        <dsp:cNvSpPr/>
      </dsp:nvSpPr>
      <dsp:spPr>
        <a:xfrm>
          <a:off x="0" y="2888948"/>
          <a:ext cx="5328591" cy="1787459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kern="1200" dirty="0" smtClean="0">
            <a:solidFill>
              <a:schemeClr val="bg1"/>
            </a:solidFill>
          </a:endParaRPr>
        </a:p>
        <a:p>
          <a:pPr marL="0" marR="0" lvl="0" indent="0" algn="ctr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endParaRPr lang="ru-RU" sz="1400" b="1" kern="1200" dirty="0" smtClean="0">
            <a:solidFill>
              <a:schemeClr val="bg1"/>
            </a:solidFill>
          </a:endParaRPr>
        </a:p>
        <a:p>
          <a:pPr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32503" y="2888948"/>
        <a:ext cx="3463584" cy="17874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30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0978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855768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48235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496228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595186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22378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80480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73854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52281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76925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311143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30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851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eg"/><Relationship Id="rId5" Type="http://schemas.openxmlformats.org/officeDocument/2006/relationships/image" Target="../media/image10.emf"/><Relationship Id="rId10" Type="http://schemas.openxmlformats.org/officeDocument/2006/relationships/image" Target="../media/image18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9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9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10" Type="http://schemas.openxmlformats.org/officeDocument/2006/relationships/image" Target="../media/image24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395536" y="188640"/>
            <a:ext cx="8648700" cy="792088"/>
          </a:xfrm>
        </p:spPr>
        <p:txBody>
          <a:bodyPr>
            <a:noAutofit/>
          </a:bodyPr>
          <a:lstStyle/>
          <a:p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</a:t>
            </a:r>
            <a:b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меняемости посещения воспитанниками образовательных центр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ДОО путем использования экрана передвижения групп»</a:t>
            </a:r>
            <a:r>
              <a:rPr lang="ru-RU" sz="20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ru-RU" sz="1550" b="1" i="1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33363" y="1052736"/>
            <a:ext cx="8636000" cy="1682799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4282" y="2928934"/>
            <a:ext cx="8636000" cy="1512745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1052736"/>
            <a:ext cx="1937646" cy="307777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</a:t>
            </a: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: 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26980" y="4523634"/>
            <a:ext cx="8621713" cy="720079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en-US" sz="1200" dirty="0" smtClean="0">
              <a:solidFill>
                <a:srgbClr val="002060"/>
              </a:solidFill>
              <a:latin typeface="Times New Roman"/>
              <a:cs typeface="Times New Roman"/>
            </a:endParaRPr>
          </a:p>
          <a:p>
            <a:endParaRPr lang="en-US" sz="1200" dirty="0" smtClean="0">
              <a:solidFill>
                <a:srgbClr val="002060"/>
              </a:solidFill>
              <a:latin typeface="Times New Roman"/>
              <a:cs typeface="Times New Roman"/>
            </a:endParaRP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Сокращение времени протекания процесса от прихода родителя  за объектом до   нахождения объекта на   территории ДОО </a:t>
            </a:r>
            <a:r>
              <a:rPr lang="ru-RU" sz="11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5% к  ноябрю 2020 года.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2852936"/>
            <a:ext cx="2799482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4509120"/>
            <a:ext cx="138818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122983" y="1023851"/>
            <a:ext cx="4969297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ргана местного  самоуправления: </a:t>
            </a:r>
          </a:p>
          <a:p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образования администрации Яковлевского городского округа.</a:t>
            </a:r>
          </a:p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бразовательной организации:</a:t>
            </a:r>
          </a:p>
          <a:p>
            <a:pPr lvl="0"/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«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. Томаровка </a:t>
            </a:r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 городского округа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процесса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от прихода родителя  за объектом до   нахождения объекта на   территории ДОО.</a:t>
            </a:r>
          </a:p>
          <a:p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Дата начала  проекта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:  22.06.2020 г.</a:t>
            </a:r>
          </a:p>
          <a:p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Дата окончания проекта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: 20.11.2020 г.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357158" y="3140969"/>
            <a:ext cx="8463314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Затрата лишнего времени  на  поиск родителями местонахождения объекта до 30 минут.</a:t>
            </a: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2.Удовлетворенность родителей  поиском объекта по внешней территории ДОО до начала реализации проекта 20%.</a:t>
            </a: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3.Выявление количества детей, не умеющих самостоятельно  планировать свою деятельность до  15 человек.</a:t>
            </a: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4.Отсутствие на территории  ДОО 1 экрана передвижения детей.</a:t>
            </a: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5.Выявление в ходе анкетирования родителей,  не имеющих представлений об образовательных центрах ДОО, в количестве</a:t>
            </a: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25 человек</a:t>
            </a:r>
            <a:r>
              <a:rPr lang="ru-RU" sz="1000" dirty="0" smtClean="0"/>
              <a:t>.</a:t>
            </a:r>
          </a:p>
          <a:p>
            <a:pPr algn="just"/>
            <a:r>
              <a:rPr lang="ru-RU" sz="1000" dirty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 </a:t>
            </a: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47650" y="5373216"/>
            <a:ext cx="8621713" cy="1315532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5373216"/>
            <a:ext cx="174534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:</a:t>
            </a:r>
            <a:endParaRPr lang="ru-RU" sz="1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3492" y="5733257"/>
            <a:ext cx="86128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1.Родители могут быстро без посторонней помощи найти искомый объект на территории ДОО.</a:t>
            </a: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2. Экономия 5000 рублей в результате самостоятельной разработки макета  «Экрана передвижения групп по территории ДОО»  при заключении контракта с поставщиком. </a:t>
            </a: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3.Удовлетворенность родителей  поиском объекта в результате анкетирования увеличится на 50%.</a:t>
            </a:r>
            <a:r>
              <a:rPr lang="ru-RU" sz="1100" dirty="0" smtClean="0">
                <a:solidFill>
                  <a:schemeClr val="tx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100" dirty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11267" name="Picture 3" descr="C:\Users\admin\Desktop\Фото кейс\разработка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72330" y="1214422"/>
            <a:ext cx="1661306" cy="1457316"/>
          </a:xfrm>
          <a:prstGeom prst="rect">
            <a:avLst/>
          </a:prstGeom>
          <a:noFill/>
        </p:spPr>
      </p:pic>
      <p:pic>
        <p:nvPicPr>
          <p:cNvPr id="11268" name="Picture 4" descr="C:\Users\admin\Desktop\Фото кейс\рррр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0" y="1428736"/>
            <a:ext cx="1823053" cy="124300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92026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395536" y="908720"/>
            <a:ext cx="154341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785786" y="4929198"/>
            <a:ext cx="190874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 потери времени в </a:t>
            </a:r>
            <a:r>
              <a:rPr lang="ru-RU" sz="12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е поиска объекта  на территории ДОУ  путем создания  экрана передвижения групп</a:t>
            </a:r>
            <a:endParaRPr lang="ru-RU" sz="12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3571868" y="5000636"/>
            <a:ext cx="208490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овали</a:t>
            </a:r>
            <a:endParaRPr lang="ru-RU" sz="12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 планирования  самостоятельной игровой деятельности детьми </a:t>
            </a:r>
            <a:endParaRPr lang="ru-RU" sz="1200" dirty="0">
              <a:solidFill>
                <a:srgbClr val="7030A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7030A0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6429388" y="5072074"/>
            <a:ext cx="21359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или технологию Л.В. Свирской «План-дело-анализ» </a:t>
            </a:r>
            <a:endParaRPr lang="ru-RU" sz="120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 dirty="0"/>
          </a:p>
        </p:txBody>
      </p:sp>
      <p:pic>
        <p:nvPicPr>
          <p:cNvPr id="1034" name="Picture 10" descr="C:\Users\admin\Desktop\Фото кейс\родители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14348" y="1500174"/>
            <a:ext cx="2286016" cy="2857520"/>
          </a:xfrm>
          <a:prstGeom prst="rect">
            <a:avLst/>
          </a:prstGeom>
          <a:noFill/>
        </p:spPr>
      </p:pic>
      <p:pic>
        <p:nvPicPr>
          <p:cNvPr id="1035" name="Picture 11" descr="C:\Users\admin\Desktop\Фото кейс\изображение_viber_2020-11-24_11-51-01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286116" y="1500174"/>
            <a:ext cx="2143140" cy="2857520"/>
          </a:xfrm>
          <a:prstGeom prst="rect">
            <a:avLst/>
          </a:prstGeom>
          <a:noFill/>
        </p:spPr>
      </p:pic>
      <p:pic>
        <p:nvPicPr>
          <p:cNvPr id="1037" name="Picture 13" descr="C:\Users\admin\Desktop\Фото кейс\изображение_viber_2020-11-24_10-12-48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572132" y="1500174"/>
            <a:ext cx="3448040" cy="28575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51520" y="1268760"/>
            <a:ext cx="8636000" cy="252028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51520" y="1264145"/>
            <a:ext cx="186448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581387" y="1988841"/>
            <a:ext cx="165618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у родителей  представлений об образовательных центрах на  территории ДОУ</a:t>
            </a:r>
            <a:endParaRPr lang="ru-RU" sz="1200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412134" y="1988840"/>
            <a:ext cx="159154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сведомленность всех родителей о благоустройстве образовательных центров на территории ДО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4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23" y="5184205"/>
            <a:ext cx="1057340" cy="129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228" y="5028002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>
            <a:extLst>
              <a:ext uri="{FF2B5EF4-FFF2-40B4-BE49-F238E27FC236}"/>
            </a:extLst>
          </p:cNvPr>
          <p:cNvSpPr/>
          <p:nvPr/>
        </p:nvSpPr>
        <p:spPr>
          <a:xfrm>
            <a:off x="251520" y="4005064"/>
            <a:ext cx="8636000" cy="254435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ru-RU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4"/>
          <p:cNvSpPr txBox="1">
            <a:spLocks noChangeArrowheads="1"/>
          </p:cNvSpPr>
          <p:nvPr/>
        </p:nvSpPr>
        <p:spPr bwMode="auto">
          <a:xfrm>
            <a:off x="827584" y="4437112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395536" y="4725144"/>
            <a:ext cx="18502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сутствие графика посещения детьми образовательных центров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TextBox 29"/>
          <p:cNvSpPr txBox="1">
            <a:spLocks noChangeArrowheads="1"/>
          </p:cNvSpPr>
          <p:nvPr/>
        </p:nvSpPr>
        <p:spPr bwMode="auto">
          <a:xfrm>
            <a:off x="4932040" y="436510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9" name="TextBox 17"/>
          <p:cNvSpPr txBox="1">
            <a:spLocks noChangeArrowheads="1"/>
          </p:cNvSpPr>
          <p:nvPr/>
        </p:nvSpPr>
        <p:spPr bwMode="auto">
          <a:xfrm>
            <a:off x="4813396" y="4869161"/>
            <a:ext cx="177482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график  посещения воспитанниками ДОУ образовательных центров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" name="Picture 21" descr="https://im0-tub-ru.yandex.net/i?id=373ae64c9d7c1a5d6ec9746ffe34aef9-l&amp;n=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916832"/>
            <a:ext cx="1456807" cy="1400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4437112"/>
            <a:ext cx="1222360" cy="1492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899592" y="1700808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2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788024" y="162880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sz="12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6" name="Picture 8" descr="C:\Users\admin\Desktop\Фото кейс\Attachments_gulnara.fedyanina@yandex.ru_2020-11-21_15-40-59\Собрание родите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86512" y="1571612"/>
            <a:ext cx="2286016" cy="1643074"/>
          </a:xfrm>
          <a:prstGeom prst="rect">
            <a:avLst/>
          </a:prstGeom>
          <a:noFill/>
        </p:spPr>
      </p:pic>
      <p:pic>
        <p:nvPicPr>
          <p:cNvPr id="2057" name="Picture 9" descr="C:\Users\admin\Desktop\Фото кейс\график пос обр центров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29388" y="4286256"/>
            <a:ext cx="2357454" cy="192882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2192251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66621" y="3861048"/>
            <a:ext cx="8636000" cy="2376264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179512" y="1340768"/>
            <a:ext cx="8636000" cy="223224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179512" y="1340768"/>
            <a:ext cx="186448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5076056" y="1988840"/>
            <a:ext cx="152537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нициативность детей в планировании своей  самостоятельной деятельности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422402" y="4253725"/>
            <a:ext cx="148530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БЫЛО</a:t>
            </a:r>
            <a:endParaRPr 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120526" y="4152418"/>
            <a:ext cx="2035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               СТАЛО</a:t>
            </a:r>
            <a:endParaRPr lang="ru-RU" sz="1200" b="1" dirty="0">
              <a:solidFill>
                <a:srgbClr val="92D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86776" y="4581128"/>
            <a:ext cx="204208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никновение затруднений у педагогов при  обучении  планированию самостоятельной  и совместной деятельности детей  со взрослыми и сверстниками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572000" y="4506378"/>
            <a:ext cx="164307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Внедрена технология Л.В. Свирской  «План-дело-анализ»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051720" y="1988841"/>
            <a:ext cx="188514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никновение затруднений у детей в планировании своей самостоятельной деятельности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9" y="2164889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 descr="C:\Documents and Settings\Администратор\Рабочий стол\572339cs-960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365104"/>
            <a:ext cx="1109980" cy="136525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Box 19"/>
          <p:cNvSpPr txBox="1"/>
          <p:nvPr/>
        </p:nvSpPr>
        <p:spPr>
          <a:xfrm>
            <a:off x="2483768" y="1700808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2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292080" y="1700808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sz="12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80" name="Picture 8" descr="C:\Users\admin\Desktop\Фото кейс\изображение_viber_2020-11-24_11-50-58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715140" y="1714488"/>
            <a:ext cx="1571595" cy="1731659"/>
          </a:xfrm>
          <a:prstGeom prst="rect">
            <a:avLst/>
          </a:prstGeom>
          <a:noFill/>
        </p:spPr>
      </p:pic>
      <p:pic>
        <p:nvPicPr>
          <p:cNvPr id="3081" name="Picture 9" descr="C:\Users\admin\Desktop\Фото кейс\изображение_viber_2020-11-24_10-12-12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143636" y="4143380"/>
            <a:ext cx="2590784" cy="19430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675942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66621" y="3861048"/>
            <a:ext cx="8636000" cy="2376264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179512" y="1340768"/>
            <a:ext cx="8636000" cy="223224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179512" y="1340768"/>
            <a:ext cx="186448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143372" y="2214554"/>
            <a:ext cx="152537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Развитие способностей детей  в работе с планом, схемами, рисунками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422402" y="4253725"/>
            <a:ext cx="148530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БЫЛО</a:t>
            </a:r>
            <a:endParaRPr lang="ru-RU" sz="1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4120526" y="4152418"/>
            <a:ext cx="20356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92D050"/>
                </a:solidFill>
                <a:latin typeface="Times New Roman" pitchFamily="18" charset="0"/>
                <a:cs typeface="Times New Roman" pitchFamily="18" charset="0"/>
              </a:rPr>
              <a:t>               СТАЛО</a:t>
            </a:r>
            <a:endParaRPr lang="ru-RU" sz="1200" b="1" dirty="0">
              <a:solidFill>
                <a:srgbClr val="92D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3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386776" y="4581128"/>
            <a:ext cx="185026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удовлетворенность родителей отсутствием удобной логистики сменяемости посещений воспитанниками  групп  образовательных центров на территории ДОУ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572000" y="4506378"/>
            <a:ext cx="181698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Удовлетворенность родителей по результатам анкетирования 100% установлением экрана передвижения групп по территории ДОУ 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051720" y="1988841"/>
            <a:ext cx="1885149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труднения</a:t>
            </a:r>
            <a:r>
              <a:rPr lang="ru-RU" sz="1200" dirty="0" smtClean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rPr>
              <a:t>  детей  в моделировании пространственных отношений между объектами в виде  рисунка, плана, схемы.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9" y="2164889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 descr="C:\Documents and Settings\Администратор\Рабочий стол\572339cs-960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4365104"/>
            <a:ext cx="1109980" cy="136525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Box 19"/>
          <p:cNvSpPr txBox="1"/>
          <p:nvPr/>
        </p:nvSpPr>
        <p:spPr>
          <a:xfrm>
            <a:off x="2483768" y="1700808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2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00496" y="1785926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sz="12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2227" name="Picture 3" descr="C:\Users\admin\Desktop\Фото кейс\изображение_viber_2020-11-24_10-12-3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572132" y="1428736"/>
            <a:ext cx="1571636" cy="1214446"/>
          </a:xfrm>
          <a:prstGeom prst="rect">
            <a:avLst/>
          </a:prstGeom>
          <a:noFill/>
        </p:spPr>
      </p:pic>
      <p:pic>
        <p:nvPicPr>
          <p:cNvPr id="52228" name="Picture 4" descr="C:\Users\admin\Desktop\Фото кейс\изображение_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flipH="1">
            <a:off x="6929454" y="2000240"/>
            <a:ext cx="1785950" cy="1428760"/>
          </a:xfrm>
          <a:prstGeom prst="rect">
            <a:avLst/>
          </a:prstGeom>
          <a:noFill/>
        </p:spPr>
      </p:pic>
      <p:pic>
        <p:nvPicPr>
          <p:cNvPr id="52229" name="Picture 5" descr="C:\Users\admin\Desktop\Фото кейс\2 анкета выход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929454" y="3929066"/>
            <a:ext cx="1857388" cy="21431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675942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179512" y="1340768"/>
            <a:ext cx="8636000" cy="4445686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179512" y="1340768"/>
            <a:ext cx="1864485" cy="3077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714876" y="2285992"/>
            <a:ext cx="152537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становление экрана передвижения групп  по  территории ДО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4</a:t>
            </a:fld>
            <a:endParaRPr lang="ru-RU" sz="1400"/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572000" y="4506378"/>
            <a:ext cx="181698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051720" y="1988841"/>
            <a:ext cx="1885149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>
              <a:defRPr/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на территории ДОУ удобной логистики сменяемости посещений воспитанниками образовательных центров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9332" name="Picture 4" descr="https://im0-tub-ru.yandex.net/i?id=26466810ba0cc8910e77eae9147df33a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9" y="2164889"/>
            <a:ext cx="1440160" cy="1360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2483768" y="1700808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2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500562" y="1714488"/>
            <a:ext cx="12961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sz="12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325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28794" y="3643314"/>
            <a:ext cx="2514582" cy="188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253" name="Picture 5" descr="C:\Users\admin\Desktop\Фото кейс\изображение_viber_2020-11-19_11-17-20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214942" y="3643314"/>
            <a:ext cx="2643206" cy="195917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675942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00430" y="1428736"/>
            <a:ext cx="936625" cy="936625"/>
          </a:xfrm>
          <a:prstGeom prst="flowChartConnector">
            <a:avLst/>
          </a:prstGeom>
          <a:solidFill>
            <a:schemeClr val="accent5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190424" y="1897048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85724" y="1503362"/>
            <a:ext cx="2200274" cy="80327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иск объекта по территории ДОУ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 июнь2020г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714744" y="3214686"/>
            <a:ext cx="755650" cy="601663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1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14282" y="3143248"/>
            <a:ext cx="2208212" cy="7228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1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ход за ребенком на прогулочный  участок группы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, мин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flipV="1">
            <a:off x="2428860" y="3500438"/>
            <a:ext cx="1214446" cy="555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2000" b="1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714744" y="5429264"/>
            <a:ext cx="755650" cy="577726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14282" y="4357694"/>
            <a:ext cx="2160241" cy="6834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ребенка в помещениях  внутреннего пространства,  мин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357422" y="4714884"/>
            <a:ext cx="1214446" cy="1588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071619" y="1411809"/>
            <a:ext cx="936625" cy="93662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703763" y="1556792"/>
            <a:ext cx="2389187" cy="91335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иск объекта по территории ДОУ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октябрь 2020г.)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312150" y="3214686"/>
            <a:ext cx="831850" cy="601663"/>
          </a:xfrm>
          <a:prstGeom prst="flowChartConnector">
            <a:avLst/>
          </a:prstGeom>
          <a:solidFill>
            <a:schemeClr val="accent4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86314" y="3143248"/>
            <a:ext cx="2323829" cy="68922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ход к экрану передвижения  групп, мин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 flipV="1">
            <a:off x="7072330" y="3500438"/>
            <a:ext cx="1141140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4857752" y="4286256"/>
            <a:ext cx="2296442" cy="68341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зучение местонахождения объекта по экрану передвижения групп, </a:t>
            </a:r>
            <a:r>
              <a:rPr lang="ru-RU" sz="11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143768" y="4643446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85724" y="692696"/>
            <a:ext cx="9058275" cy="6164138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251"/>
            <a:ext cx="437008" cy="365125"/>
          </a:xfrm>
        </p:spPr>
        <p:txBody>
          <a:bodyPr/>
          <a:lstStyle/>
          <a:p>
            <a:r>
              <a:rPr lang="ru-RU" sz="1400" dirty="0" smtClean="0"/>
              <a:t>10</a:t>
            </a:r>
            <a:endParaRPr lang="ru-RU" sz="1400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467544" y="807650"/>
            <a:ext cx="2880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:</a:t>
            </a:r>
            <a:endParaRPr lang="ru-RU" sz="16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762673" y="807650"/>
            <a:ext cx="32389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: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Блок-схема: узел 58"/>
          <p:cNvSpPr/>
          <p:nvPr/>
        </p:nvSpPr>
        <p:spPr>
          <a:xfrm>
            <a:off x="8215338" y="4286256"/>
            <a:ext cx="833334" cy="636129"/>
          </a:xfrm>
          <a:prstGeom prst="flowChartConnector">
            <a:avLst/>
          </a:prstGeom>
          <a:solidFill>
            <a:schemeClr val="accent4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285720" y="5429264"/>
            <a:ext cx="2160241" cy="6834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 объекта  по территории ДОУ ,  мин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5" name="Блок-схема: узел 74"/>
          <p:cNvSpPr/>
          <p:nvPr/>
        </p:nvSpPr>
        <p:spPr>
          <a:xfrm>
            <a:off x="3643306" y="4357694"/>
            <a:ext cx="755650" cy="577726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en-US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6" name="Прямая соединительная линия 75"/>
          <p:cNvCxnSpPr>
            <a:stCxn id="74" idx="3"/>
          </p:cNvCxnSpPr>
          <p:nvPr/>
        </p:nvCxnSpPr>
        <p:spPr>
          <a:xfrm>
            <a:off x="2445961" y="5770973"/>
            <a:ext cx="1197345" cy="1548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Прямоугольник 84"/>
          <p:cNvSpPr/>
          <p:nvPr/>
        </p:nvSpPr>
        <p:spPr>
          <a:xfrm>
            <a:off x="4929190" y="5429264"/>
            <a:ext cx="2160241" cy="6834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 объекта  по территории ДОУ ,  мин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6" name="Блок-схема: узел 85"/>
          <p:cNvSpPr/>
          <p:nvPr/>
        </p:nvSpPr>
        <p:spPr>
          <a:xfrm>
            <a:off x="8143900" y="5357826"/>
            <a:ext cx="833334" cy="636129"/>
          </a:xfrm>
          <a:prstGeom prst="flowChartConnector">
            <a:avLst/>
          </a:prstGeom>
          <a:solidFill>
            <a:schemeClr val="accent4">
              <a:lumMod val="20000"/>
              <a:lumOff val="8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7" name="Прямая соединительная линия 86"/>
          <p:cNvCxnSpPr/>
          <p:nvPr/>
        </p:nvCxnSpPr>
        <p:spPr>
          <a:xfrm>
            <a:off x="7072330" y="5715016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187624" y="1628801"/>
            <a:ext cx="1584176" cy="226825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385442" y="185592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75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31640" y="3573016"/>
            <a:ext cx="1440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 мин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текания процесса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148064" y="1484784"/>
            <a:ext cx="3600400" cy="496855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ЭФФЕКТЫ:</a:t>
            </a:r>
          </a:p>
          <a:p>
            <a:pPr algn="ctr"/>
            <a:endParaRPr lang="ru-RU" sz="1600" b="1" dirty="0" smtClean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Развитие у детей навыков планирующей деятельности посредством внедрения методики Л.В.Свирской «План-дело-анализ»</a:t>
            </a:r>
          </a:p>
          <a:p>
            <a:pPr algn="just"/>
            <a:endParaRPr lang="ru-RU" sz="1600" b="1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Создание удобной логистики процесса сменяемости воспитанниками групп образовательных центров по территории ДОУ</a:t>
            </a:r>
          </a:p>
          <a:p>
            <a:pPr algn="just"/>
            <a:endParaRPr lang="ru-RU" sz="1600" b="1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6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Удовлетворенность родителями поиском объекта по территории ДОУ</a:t>
            </a:r>
          </a:p>
        </p:txBody>
      </p:sp>
      <p:sp>
        <p:nvSpPr>
          <p:cNvPr id="4" name="Стрелка вниз 3"/>
          <p:cNvSpPr/>
          <p:nvPr/>
        </p:nvSpPr>
        <p:spPr>
          <a:xfrm>
            <a:off x="6858016" y="4857760"/>
            <a:ext cx="504056" cy="476761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40" y="3286124"/>
            <a:ext cx="573087" cy="50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357158" y="3643314"/>
            <a:ext cx="8621712" cy="246380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51520" y="764704"/>
            <a:ext cx="8597230" cy="2612093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95536" y="908720"/>
            <a:ext cx="2137739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23528" y="3429000"/>
            <a:ext cx="2179674" cy="340519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680701" y="2746306"/>
            <a:ext cx="1206451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осова Ольга Виктор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altLang="ru-RU" sz="1000" kern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31791" y="914986"/>
            <a:ext cx="1538288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1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проекта</a:t>
            </a:r>
            <a:endParaRPr lang="en-US" altLang="ru-RU" sz="1100" b="1" kern="0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6532768" y="2746306"/>
            <a:ext cx="1427187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рдакова Татьяна Анатолье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арший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667712" y="914986"/>
            <a:ext cx="2216656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100" b="1" kern="0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Руководитель проекта </a:t>
            </a:r>
            <a:endParaRPr lang="en-US" altLang="ru-RU" sz="1100" b="1" kern="0" dirty="0" smtClean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sp>
        <p:nvSpPr>
          <p:cNvPr id="36" name="TextBox 35"/>
          <p:cNvSpPr txBox="1"/>
          <p:nvPr/>
        </p:nvSpPr>
        <p:spPr>
          <a:xfrm>
            <a:off x="395536" y="5445224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Немыкина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Юлия Олеговна, педагог-психолог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500298" y="5429264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мирнова Ирина Григорьевна, воспитатель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500562" y="5357826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елина Софья Евгеньевна, воспитатель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286512" y="5373216"/>
            <a:ext cx="2605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бразцова Елена Владимировна, музыкальный руководитель, воспитатель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17" name="Picture 1" descr="D:\Документы2021\Фото педагоги\DSC_625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14744" y="1214422"/>
            <a:ext cx="1129013" cy="1505019"/>
          </a:xfrm>
          <a:prstGeom prst="rect">
            <a:avLst/>
          </a:prstGeom>
          <a:noFill/>
        </p:spPr>
      </p:pic>
      <p:pic>
        <p:nvPicPr>
          <p:cNvPr id="9220" name="Picture 4" descr="D:\Документы2021\Фото педагоги\DSC_6244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3929066"/>
            <a:ext cx="1128702" cy="1504604"/>
          </a:xfrm>
          <a:prstGeom prst="rect">
            <a:avLst/>
          </a:prstGeom>
          <a:noFill/>
        </p:spPr>
      </p:pic>
      <p:pic>
        <p:nvPicPr>
          <p:cNvPr id="9221" name="Picture 5" descr="C:\Users\admin\Desktop\селина с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0" y="3929066"/>
            <a:ext cx="1333500" cy="1333500"/>
          </a:xfrm>
          <a:prstGeom prst="rect">
            <a:avLst/>
          </a:prstGeom>
          <a:noFill/>
        </p:spPr>
      </p:pic>
      <p:pic>
        <p:nvPicPr>
          <p:cNvPr id="9222" name="Picture 6" descr="C:\Users\admin\Desktop\образцова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929455" y="3690926"/>
            <a:ext cx="1285884" cy="1714512"/>
          </a:xfrm>
          <a:prstGeom prst="rect">
            <a:avLst/>
          </a:prstGeom>
          <a:noFill/>
        </p:spPr>
      </p:pic>
      <p:pic>
        <p:nvPicPr>
          <p:cNvPr id="9223" name="Picture 7" descr="C:\Users\admin\Desktop\ФОТО сад - копия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2910" y="1428736"/>
            <a:ext cx="2019280" cy="1514460"/>
          </a:xfrm>
          <a:prstGeom prst="rect">
            <a:avLst/>
          </a:prstGeom>
          <a:noFill/>
        </p:spPr>
      </p:pic>
      <p:pic>
        <p:nvPicPr>
          <p:cNvPr id="9224" name="Picture 8" descr="C:\Users\admin\Desktop\смирнова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86050" y="3786190"/>
            <a:ext cx="1071560" cy="1607340"/>
          </a:xfrm>
          <a:prstGeom prst="rect">
            <a:avLst/>
          </a:prstGeom>
          <a:noFill/>
        </p:spPr>
      </p:pic>
      <p:pic>
        <p:nvPicPr>
          <p:cNvPr id="9225" name="Picture 9" descr="C:\Users\admin\Desktop\МОЕ ФОТО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572264" y="1214422"/>
            <a:ext cx="1194281" cy="15335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357166"/>
            <a:ext cx="9144000" cy="785818"/>
          </a:xfrm>
        </p:spPr>
        <p:txBody>
          <a:bodyPr/>
          <a:lstStyle/>
          <a:p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                          </a:t>
            </a:r>
            <a:r>
              <a:rPr lang="ru-RU" sz="14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08.07.2020 г.</a:t>
            </a:r>
            <a:br>
              <a:rPr lang="ru-RU" sz="1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арта текущего состояния процесса </a:t>
            </a: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сменяемости посещения воспитанниками образовательных центр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ДОО путем использования экрана передвижения групп»</a:t>
            </a:r>
            <a:r>
              <a:rPr lang="ru-RU" sz="1400" dirty="0" smtClean="0"/>
              <a:t/>
            </a:r>
            <a:br>
              <a:rPr lang="ru-RU" sz="1400" dirty="0" smtClean="0"/>
            </a:br>
            <a:endParaRPr lang="ru-RU" sz="14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6072198" y="285728"/>
            <a:ext cx="2614602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3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3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428992" y="4500570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5286380" y="4429132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2643174" y="6072206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-41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66" y="65722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786446" y="1214422"/>
            <a:ext cx="15716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lvl="0" indent="-228600"/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Отсутствие у родителя представления об образовательных центрах ДОО</a:t>
            </a:r>
          </a:p>
          <a:p>
            <a:pPr marL="228600" lvl="0" indent="-228600"/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. Отсутствие удобной логистики внешнего пространства ДОО</a:t>
            </a:r>
          </a:p>
          <a:p>
            <a:pPr lvl="0">
              <a:defRPr/>
            </a:pP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571604" y="4572008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2360665"/>
              </p:ext>
            </p:extLst>
          </p:nvPr>
        </p:nvGraphicFramePr>
        <p:xfrm>
          <a:off x="2000232" y="3643314"/>
          <a:ext cx="1406372" cy="221457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06372"/>
              </a:tblGrid>
              <a:tr h="52922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10781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щет ребенка в группе внутреннего пространства ДОО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607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10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532363"/>
              </p:ext>
            </p:extLst>
          </p:nvPr>
        </p:nvGraphicFramePr>
        <p:xfrm>
          <a:off x="3857620" y="3571876"/>
          <a:ext cx="1428760" cy="233427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428760"/>
              </a:tblGrid>
              <a:tr h="5943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111518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ращается к заведующему по вопросу  нахождения ребенка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6246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7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6059484"/>
              </p:ext>
            </p:extLst>
          </p:nvPr>
        </p:nvGraphicFramePr>
        <p:xfrm>
          <a:off x="7500958" y="3643314"/>
          <a:ext cx="1259107" cy="2286017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59107"/>
              </a:tblGrid>
              <a:tr h="5865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ребенок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12303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ходит ребенка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690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5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0" name="Пятно 1 49"/>
          <p:cNvSpPr/>
          <p:nvPr/>
        </p:nvSpPr>
        <p:spPr>
          <a:xfrm>
            <a:off x="4643438" y="3000372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7069276"/>
              </p:ext>
            </p:extLst>
          </p:nvPr>
        </p:nvGraphicFramePr>
        <p:xfrm>
          <a:off x="285720" y="3571876"/>
          <a:ext cx="1285884" cy="228601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85884"/>
              </a:tblGrid>
              <a:tr h="736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10891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ходит за ребенком на прогулочный  участок группы</a:t>
                      </a:r>
                    </a:p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600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7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5" name="Пятно 1 54"/>
          <p:cNvSpPr/>
          <p:nvPr/>
        </p:nvSpPr>
        <p:spPr>
          <a:xfrm>
            <a:off x="2857488" y="3143248"/>
            <a:ext cx="428628" cy="4566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7089271"/>
              </p:ext>
            </p:extLst>
          </p:nvPr>
        </p:nvGraphicFramePr>
        <p:xfrm>
          <a:off x="5643570" y="3643314"/>
          <a:ext cx="1500198" cy="235745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00198"/>
              </a:tblGrid>
              <a:tr h="7406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. заведующий</a:t>
                      </a:r>
                      <a:endParaRPr kumimoji="0" lang="ru-RU" sz="9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11622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щет ребенка  по всей территории ДОО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545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12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9" name="Стрелка вправо 58"/>
          <p:cNvSpPr/>
          <p:nvPr/>
        </p:nvSpPr>
        <p:spPr>
          <a:xfrm>
            <a:off x="7143768" y="435769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Пятно 1 60"/>
          <p:cNvSpPr/>
          <p:nvPr/>
        </p:nvSpPr>
        <p:spPr>
          <a:xfrm>
            <a:off x="4000496" y="3071810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51" name="Пятно 1 50"/>
          <p:cNvSpPr/>
          <p:nvPr/>
        </p:nvSpPr>
        <p:spPr>
          <a:xfrm>
            <a:off x="1142976" y="3143248"/>
            <a:ext cx="468922" cy="506411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7" name="Пятно 1 56"/>
          <p:cNvSpPr/>
          <p:nvPr/>
        </p:nvSpPr>
        <p:spPr>
          <a:xfrm>
            <a:off x="5929322" y="3071810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9" name="Пятно 1 28"/>
          <p:cNvSpPr/>
          <p:nvPr/>
        </p:nvSpPr>
        <p:spPr>
          <a:xfrm>
            <a:off x="6572264" y="3000372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6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85720" y="2357430"/>
            <a:ext cx="157160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100" dirty="0" smtClean="0">
                <a:solidFill>
                  <a:prstClr val="black"/>
                </a:solidFill>
                <a:latin typeface="Times New Roman"/>
              </a:rPr>
              <a:t>1.   Отсутствие детей на прогулочном участке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857356" y="2428868"/>
            <a:ext cx="171379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buAutoNum type="arabicPeriod" startAt="2"/>
            </a:pPr>
            <a:r>
              <a:rPr lang="ru-RU" sz="1100" dirty="0" smtClean="0">
                <a:solidFill>
                  <a:prstClr val="black"/>
                </a:solidFill>
                <a:latin typeface="Times New Roman"/>
                <a:ea typeface="Calibri"/>
              </a:rPr>
              <a:t>Отсутствие детей в группе ДОО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43306" y="1785926"/>
            <a:ext cx="214314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/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Отсутствие графика посещений воспитанниками образовательных центров ДОО</a:t>
            </a:r>
          </a:p>
          <a:p>
            <a:pPr marL="228600" lvl="0" indent="-228600"/>
            <a:r>
              <a:rPr lang="ru-RU" sz="11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Отсутствие заведующего в кабинете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179512" y="1124744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3159114851"/>
              </p:ext>
            </p:extLst>
          </p:nvPr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Пятно 1 10"/>
          <p:cNvSpPr/>
          <p:nvPr/>
        </p:nvSpPr>
        <p:spPr>
          <a:xfrm>
            <a:off x="1571604" y="5500702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077505" y="3645024"/>
            <a:ext cx="1435030" cy="357190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007461" y="1844824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7" name="Пятно 1 16"/>
          <p:cNvSpPr/>
          <p:nvPr/>
        </p:nvSpPr>
        <p:spPr>
          <a:xfrm>
            <a:off x="852473" y="5314561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9" name="Пятно 1 18"/>
          <p:cNvSpPr/>
          <p:nvPr/>
        </p:nvSpPr>
        <p:spPr>
          <a:xfrm>
            <a:off x="2357422" y="5286388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Пятно 1 11"/>
          <p:cNvSpPr/>
          <p:nvPr/>
        </p:nvSpPr>
        <p:spPr>
          <a:xfrm>
            <a:off x="2928926" y="5643578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3643306" y="5429264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0" name="Пятно 1 19"/>
          <p:cNvSpPr/>
          <p:nvPr/>
        </p:nvSpPr>
        <p:spPr>
          <a:xfrm>
            <a:off x="4286248" y="5286388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6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219709" y="4225416"/>
            <a:ext cx="357504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latin typeface="Times New Roman"/>
              </a:rPr>
              <a:t>1. Отсутствие детей на прогулочном участке</a:t>
            </a:r>
            <a:endParaRPr lang="ru-RU" sz="1200" b="1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-228600">
              <a:buAutoNum type="arabicPeriod" startAt="2"/>
            </a:pPr>
            <a:r>
              <a:rPr lang="ru-RU" sz="1200" b="1" dirty="0" smtClean="0">
                <a:solidFill>
                  <a:prstClr val="black"/>
                </a:solidFill>
                <a:latin typeface="Times New Roman"/>
                <a:ea typeface="Calibri"/>
              </a:rPr>
              <a:t>Отсутствие детей в группе ДОО</a:t>
            </a:r>
          </a:p>
          <a:p>
            <a:pPr lvl="0" indent="-228600">
              <a:buAutoNum type="arabicPeriod" startAt="2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графика посещений воспитанниками образовательных центров ДОО</a:t>
            </a:r>
          </a:p>
          <a:p>
            <a:pPr lvl="0" indent="-228600">
              <a:buAutoNum type="arabicPeriod" startAt="2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заведующего в кабинете</a:t>
            </a:r>
          </a:p>
          <a:p>
            <a:pPr lvl="0" indent="-228600">
              <a:buAutoNum type="arabicPeriod" startAt="2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у родителя представления об образовательных центрах ДОО</a:t>
            </a:r>
          </a:p>
          <a:p>
            <a:pPr indent="-228600">
              <a:buFontTx/>
              <a:buAutoNum type="arabicPeriod" startAt="2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удобной логистики внешнего пространства ДОО</a:t>
            </a:r>
          </a:p>
          <a:p>
            <a:pPr marL="228600" lvl="0" indent="-228600">
              <a:lnSpc>
                <a:spcPct val="150000"/>
              </a:lnSpc>
              <a:buAutoNum type="arabicPeriod" startAt="2"/>
            </a:pPr>
            <a:endParaRPr lang="ru-RU" sz="12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594"/>
          </a:xfrm>
        </p:spPr>
        <p:txBody>
          <a:bodyPr/>
          <a:lstStyle/>
          <a:p>
            <a:pPr algn="l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Введение в предметную область</a:t>
            </a:r>
            <a:br>
              <a:rPr lang="ru-RU" sz="1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описание ситуации «Как есть»)                                                       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Анализ проблем</a:t>
            </a:r>
            <a:b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1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214282" y="857232"/>
          <a:ext cx="8715436" cy="57130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3210"/>
                <a:gridCol w="1616696"/>
                <a:gridCol w="2555134"/>
                <a:gridCol w="3000396"/>
              </a:tblGrid>
              <a:tr h="2667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8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ервопричина</a:t>
                      </a:r>
                    </a:p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шения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клад в достижение цели</a:t>
                      </a:r>
                    </a:p>
                    <a:p>
                      <a:endParaRPr lang="ru-RU" sz="800" dirty="0"/>
                    </a:p>
                  </a:txBody>
                  <a:tcPr/>
                </a:tc>
              </a:tr>
              <a:tr h="81621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. </a:t>
                      </a:r>
                      <a:r>
                        <a:rPr lang="ru-RU" sz="800" b="1" dirty="0" smtClean="0">
                          <a:solidFill>
                            <a:prstClr val="black"/>
                          </a:solidFill>
                          <a:latin typeface="Times New Roman"/>
                        </a:rPr>
                        <a:t>Отсутствие детей на прогулочном участке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ru-RU" sz="800" baseline="0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формации о местонахождении дете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ещание с педагогами « Об обеспечение удобной логистики внешнего пространства ДОО».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иск искомого объекта по «Экрану передвижения групп по территории ДОО»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ведение совещания с педагогами « Об обеспечение удобной логистики внешнего пространства ДОО».</a:t>
                      </a: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здание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«Экрана передвижения групп по территории ДОО», о</a:t>
                      </a: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едомленность родителей (законных представителей) о нахождении детей в определенном образовательном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центре.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6286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800" b="1" dirty="0" smtClean="0">
                          <a:solidFill>
                            <a:prstClr val="black"/>
                          </a:solidFill>
                          <a:latin typeface="Times New Roman"/>
                          <a:ea typeface="Calibri"/>
                        </a:rPr>
                        <a:t>Отсутствие детей в группе ДОО</a:t>
                      </a: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размещения в уголке для родителей плана реализации самостоятельной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</a:rPr>
                        <a:t> деятельности  по желанию детей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</a:rPr>
                        <a:t>Разработка и размещение в уголке для родителей плана реализации  самостоятельной  деятельности по желанию детей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ие детей навыкам планирующей деятельности.</a:t>
                      </a: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плана,</a:t>
                      </a:r>
                      <a:r>
                        <a:rPr lang="ru-RU" sz="800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</a:t>
                      </a: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вышение осведомленности родителей </a:t>
                      </a: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х представителей)</a:t>
                      </a: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 самостоятельной деятельности по желанию детей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деловой игры «Я выбираю» с использованием карточек-подсказок.</a:t>
                      </a:r>
                    </a:p>
                  </a:txBody>
                  <a:tcPr/>
                </a:tc>
              </a:tr>
              <a:tr h="6286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</a:rPr>
                        <a:t> </a:t>
                      </a:r>
                      <a:r>
                        <a:rPr lang="ru-RU" sz="800" b="1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графика распределения посещений воспитанниками образовательных</a:t>
                      </a:r>
                      <a:r>
                        <a:rPr lang="ru-RU" sz="800" b="1" baseline="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центров ДОО</a:t>
                      </a: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/>
                        <a:ea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</a:rPr>
                        <a:t>Не определен режим функционирования образовательных центр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</a:t>
                      </a:r>
                      <a:r>
                        <a:rPr lang="ru-RU" sz="800" b="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фика распределения посещений воспитанниками образовательных центров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дание  приказа « О функционировании образовательных центров  в ДОО».</a:t>
                      </a: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комство педагогов с приказом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 О функционировании образовательных центров  в ДОО»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одителей </a:t>
                      </a: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х представителей).</a:t>
                      </a: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графиком посещений образовательных центов.</a:t>
                      </a:r>
                      <a:endParaRPr lang="ru-RU" sz="8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409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sz="800" b="1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заведующего в кабинет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ончание рабочего дня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мостоятельный поиск искомого объекта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щение к старшему воспитателю, заместителю заведующего по АХЧ.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шение проблемы представителями  администрации ДОО.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6286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sz="800" b="1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сутствие у родителя представления о некоторых образовательных центров ДОО</a:t>
                      </a:r>
                      <a:endParaRPr lang="ru-RU" sz="800" dirty="0" smtClean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aseline="0" dirty="0" err="1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информированность</a:t>
                      </a:r>
                      <a:r>
                        <a:rPr lang="ru-RU" sz="800" baseline="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родителей (законных представителей) о  создании  образовательных центров в ДОО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родительских собраний, «Благоустройство ДОО»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консультаций с родителями (законными представителями) «Экологические тропы ДОО», «Образовательные центры в ДОО».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светительская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работа с </a:t>
                      </a: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родителями (законными представителями).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848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Отсутствие удобной логистики на внешней территории ДО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prstClr val="black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анализа проблемы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проблемы в годовом плане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еятельности ДОО.</a:t>
                      </a:r>
                      <a:endParaRPr lang="ru-RU" sz="8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«Экрана передвижения групп по территории ДОО»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дание приказа «О создании рабочей группы по оптимизации процесса сменяемости посещения воспитанниками  образовательных центров ДОО»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макета экрана передвижения групп, привлечение внебюджетных средств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ие договора об изготовлении экрана передвижения групп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минар-практикум с педагогами и родителями (законными представителями) по обучению правилам использования экрана </a:t>
                      </a:r>
                      <a:r>
                        <a:rPr lang="ru-RU" sz="800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вижения групп по территории ДОО,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rPr>
                        <a:t>Обучение детей навыкам моделирования пространственных отношений между объектами в виде рисунка, плана, схемы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cs typeface="Times New Roman" pitchFamily="18" charset="0"/>
                        </a:rPr>
                        <a:t>Установление экрана передвижения групп  по территории ДОО.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066"/>
          </a:xfrm>
        </p:spPr>
        <p:txBody>
          <a:bodyPr/>
          <a:lstStyle/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азработка плана мероприятий</a:t>
            </a:r>
            <a:br>
              <a:rPr lang="ru-RU" sz="1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/>
              <a:t/>
            </a:r>
            <a:br>
              <a:rPr lang="ru-RU" sz="1400" dirty="0" smtClean="0"/>
            </a:br>
            <a:endParaRPr lang="ru-RU" sz="1400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5738531"/>
              </p:ext>
            </p:extLst>
          </p:nvPr>
        </p:nvGraphicFramePr>
        <p:xfrm>
          <a:off x="0" y="620688"/>
          <a:ext cx="9144001" cy="61206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909"/>
                <a:gridCol w="3654503"/>
                <a:gridCol w="2565927"/>
                <a:gridCol w="1088575"/>
                <a:gridCol w="1244087"/>
              </a:tblGrid>
              <a:tr h="67650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начал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оконча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97248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Издание приказа «О создании рабочей группы по оптимизации процесса сменяемости посещения воспитанниками образовательных центров ДОО»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осова О.В.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2.06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3.06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19887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Разработка и размещение в уголке для родителей плана реализации самостоятельной  деятельности  по  желанию детей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оспитатели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ДОО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.07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.07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89805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Обучение детей навыкам планирующей деятельности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оспитатели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ДОО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6.07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4.07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89805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Разработка графика посещений воспитанниками образовательных центров  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Бардакова Т.А.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.07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9.07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19887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Проведение родительских собраний, консультаций с родителями (законными представителями) «Благоустройство ДОО», </a:t>
                      </a:r>
                      <a:endParaRPr lang="ru-RU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«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Экологические тропы 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ДОО»,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«Образовательные центры ДОО»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оспитатели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ДОО,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Бардакова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Т.А.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.07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5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9433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Проведение совещания с педагогами 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ДОО 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«Обеспечение удобной логистики внешнего пространства ДОО»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Бардакова Т.А.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7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18058"/>
          </a:xfrm>
        </p:spPr>
        <p:txBody>
          <a:bodyPr/>
          <a:lstStyle/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азработка плана мероприятий (продолжение)</a:t>
            </a:r>
            <a:br>
              <a:rPr lang="ru-RU" sz="1400" b="1" dirty="0" smtClean="0">
                <a:latin typeface="Times New Roman" pitchFamily="18" charset="0"/>
                <a:cs typeface="Times New Roman" pitchFamily="18" charset="0"/>
              </a:rPr>
            </a:br>
            <a:endParaRPr lang="ru-RU" sz="1400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2406375"/>
              </p:ext>
            </p:extLst>
          </p:nvPr>
        </p:nvGraphicFramePr>
        <p:xfrm>
          <a:off x="1" y="620689"/>
          <a:ext cx="9144000" cy="5730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556"/>
                <a:gridCol w="3360373"/>
                <a:gridCol w="1910080"/>
                <a:gridCol w="1473191"/>
                <a:gridCol w="1828800"/>
              </a:tblGrid>
              <a:tr h="68781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ru-RU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начал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оконча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96837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Разработка макета </a:t>
                      </a:r>
                      <a:endParaRPr lang="ru-RU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«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Экрана передвижения групп»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емыкина Ю.О.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Смирнова И.Г.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Селина С.Е.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Образцова Е.В.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4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57892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Привлечение внебюджетных средств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Колосова О.В.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8005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Заключение договора 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с изготовителем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об изготовлении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«Экрана 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передвижения групп»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осова О.В.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4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5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95028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Семинар-практикум с педагогами и родителями (законными представителями) по обучению правилам использования экрана передвижения групп по территории ДОО.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Бардакова Т.А.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6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7008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Обучение детей навыкам моделирования пространственных отношений между объектами в виде  рисунка, плана, схемы.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оспитатели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ДОО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1.08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57892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Установка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экрана передвижения групп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Бардакова Т.А.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5.09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6.09.2020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57892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6357950" y="157161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500430" y="1571612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00034" y="1500174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764705"/>
            <a:ext cx="9144000" cy="720080"/>
          </a:xfrm>
        </p:spPr>
        <p:txBody>
          <a:bodyPr/>
          <a:lstStyle/>
          <a:p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идеального состояния процесса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сменяемости посещения воспитанниками образовательных центр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ДОО путем использования экрана передвижения групп»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5715008" y="2643182"/>
            <a:ext cx="599831" cy="20380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8"/>
          <p:cNvSpPr txBox="1"/>
          <p:nvPr/>
        </p:nvSpPr>
        <p:spPr>
          <a:xfrm>
            <a:off x="4714876" y="4000504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-7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 flipH="1" flipV="1">
            <a:off x="8097786" y="5472750"/>
            <a:ext cx="45719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077052"/>
              </p:ext>
            </p:extLst>
          </p:nvPr>
        </p:nvGraphicFramePr>
        <p:xfrm>
          <a:off x="3500430" y="1928803"/>
          <a:ext cx="2214578" cy="176890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2214578"/>
              </a:tblGrid>
              <a:tr h="5998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законный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ставитель)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8267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Изучает местоположение группы с помощью экрана передвижения групп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423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198031"/>
              </p:ext>
            </p:extLst>
          </p:nvPr>
        </p:nvGraphicFramePr>
        <p:xfrm>
          <a:off x="6357950" y="1928802"/>
          <a:ext cx="2214578" cy="1785951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2214578"/>
              </a:tblGrid>
              <a:tr h="6417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(законный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ставитель), ребенок</a:t>
                      </a: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943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"/>
                          <a:cs typeface="Times New Roman" panose="02020603050405020304" pitchFamily="18" charset="0"/>
                        </a:rPr>
                        <a:t>Находит ребенк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498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3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7134229" y="332656"/>
            <a:ext cx="1542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29.06.2020 г.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198031"/>
              </p:ext>
            </p:extLst>
          </p:nvPr>
        </p:nvGraphicFramePr>
        <p:xfrm>
          <a:off x="500034" y="1857364"/>
          <a:ext cx="2286016" cy="192882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2286016"/>
              </a:tblGrid>
              <a:tr h="7347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(законный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ставитель), ребенок</a:t>
                      </a: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347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дет к экрану передвижения групп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4592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0" name="Стрелка вправо 19"/>
          <p:cNvSpPr/>
          <p:nvPr/>
        </p:nvSpPr>
        <p:spPr>
          <a:xfrm>
            <a:off x="2786050" y="2714620"/>
            <a:ext cx="661158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1581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4786314" y="207167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643174" y="2071678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71472" y="214311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1142984"/>
            <a:ext cx="9144000" cy="341800"/>
          </a:xfrm>
        </p:spPr>
        <p:txBody>
          <a:bodyPr/>
          <a:lstStyle/>
          <a:p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целевого состояния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сменяемости посещения воспитанниками образовательных центр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ДОО путем использования экрана передвижения групп»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4143373" y="2928934"/>
            <a:ext cx="571504" cy="20380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 flipH="1" flipV="1">
            <a:off x="8097786" y="5472750"/>
            <a:ext cx="45719" cy="45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071670" y="3000372"/>
            <a:ext cx="518282" cy="16578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357158" y="2428868"/>
            <a:ext cx="214282" cy="1418895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8286776" y="2428868"/>
            <a:ext cx="285752" cy="142876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077052"/>
              </p:ext>
            </p:extLst>
          </p:nvPr>
        </p:nvGraphicFramePr>
        <p:xfrm>
          <a:off x="2643174" y="2428868"/>
          <a:ext cx="1500198" cy="131176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00198"/>
              </a:tblGrid>
              <a:tr h="2902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законный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ставитель)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532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Идет к  экрану передвижения групп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556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3 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198031"/>
              </p:ext>
            </p:extLst>
          </p:nvPr>
        </p:nvGraphicFramePr>
        <p:xfrm>
          <a:off x="7000892" y="2428868"/>
          <a:ext cx="1287596" cy="138750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87596"/>
              </a:tblGrid>
              <a:tr h="6114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(законный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ставитель), ребенок</a:t>
                      </a: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387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"/>
                          <a:cs typeface="Times New Roman" panose="02020603050405020304" pitchFamily="18" charset="0"/>
                        </a:rPr>
                        <a:t>Находит ребенк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372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4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03087"/>
              </p:ext>
            </p:extLst>
          </p:nvPr>
        </p:nvGraphicFramePr>
        <p:xfrm>
          <a:off x="571472" y="2480546"/>
          <a:ext cx="1500198" cy="132574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00198"/>
              </a:tblGrid>
              <a:tr h="3612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(законный</a:t>
                      </a:r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ставитель)</a:t>
                      </a:r>
                      <a:endParaRPr lang="ru-RU" sz="95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20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"/>
                          <a:cs typeface="Times New Roman" panose="02020603050405020304" pitchFamily="18" charset="0"/>
                        </a:rPr>
                        <a:t>Приходит за ребенком на  территорию ДОО</a:t>
                      </a:r>
                    </a:p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243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7134229" y="332656"/>
            <a:ext cx="1542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03.07.2020 г.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85720" y="142852"/>
            <a:ext cx="294202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будет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)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dirty="0"/>
          </a:p>
        </p:txBody>
      </p:sp>
      <p:sp>
        <p:nvSpPr>
          <p:cNvPr id="22" name="TextBox 21"/>
          <p:cNvSpPr txBox="1"/>
          <p:nvPr/>
        </p:nvSpPr>
        <p:spPr>
          <a:xfrm>
            <a:off x="2285984" y="5000636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-11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077052"/>
              </p:ext>
            </p:extLst>
          </p:nvPr>
        </p:nvGraphicFramePr>
        <p:xfrm>
          <a:off x="4786314" y="2399835"/>
          <a:ext cx="1500198" cy="1448725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00198"/>
              </a:tblGrid>
              <a:tr h="4634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законный</a:t>
                      </a:r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ставитель)</a:t>
                      </a:r>
                      <a:endParaRPr lang="ru-RU" sz="900" b="1" dirty="0" smtClean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7162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зучает местоположение группы с помощью экрана передвижения групп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295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4" name="Стрелка вправо 23"/>
          <p:cNvSpPr/>
          <p:nvPr/>
        </p:nvSpPr>
        <p:spPr>
          <a:xfrm>
            <a:off x="6357950" y="3000372"/>
            <a:ext cx="571504" cy="20380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7000892" y="2071678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4</a:t>
            </a:r>
            <a:endParaRPr lang="ru-RU" sz="900" b="1" dirty="0"/>
          </a:p>
        </p:txBody>
      </p:sp>
    </p:spTree>
    <p:extLst>
      <p:ext uri="{BB962C8B-B14F-4D97-AF65-F5344CB8AC3E}">
        <p14:creationId xmlns:p14="http://schemas.microsoft.com/office/powerpoint/2010/main" val="22361581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</a:spPr>
      <a:bodyPr rtlCol="0" anchor="ctr"/>
      <a:lstStyle>
        <a:defPPr algn="ctr">
          <a:defRPr sz="900" dirty="0">
            <a:solidFill>
              <a:schemeClr val="tx1"/>
            </a:solidFill>
            <a:latin typeface="Times New Roman" pitchFamily="18" charset="0"/>
            <a:cs typeface="Times New Roman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78</TotalTime>
  <Words>1645</Words>
  <Application>Microsoft Office PowerPoint</Application>
  <PresentationFormat>Экран (4:3)</PresentationFormat>
  <Paragraphs>358</Paragraphs>
  <Slides>16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9" baseType="lpstr">
      <vt:lpstr>Тема Office</vt:lpstr>
      <vt:lpstr>1_Тема Office</vt:lpstr>
      <vt:lpstr>think-cell Slide</vt:lpstr>
      <vt:lpstr>   Паспорт проекта «Оптимизация процесса сменяемости посещения воспитанниками образовательных центров  ДОО путем использования экрана передвижения групп»    </vt:lpstr>
      <vt:lpstr>Команда проекта </vt:lpstr>
      <vt:lpstr>                                                                                                                                                                08.07.2020 г.  Карта текущего состояния процесса  «Оптимизация процесса сменяемости посещения воспитанниками образовательных центров  ДОО путем использования экрана передвижения групп» </vt:lpstr>
      <vt:lpstr>Пирамида проблем</vt:lpstr>
      <vt:lpstr>Введение в предметную область (описание ситуации «Как есть»)                                                       Анализ проблем </vt:lpstr>
      <vt:lpstr>Разработка плана мероприятий   </vt:lpstr>
      <vt:lpstr>Разработка плана мероприятий (продолжение) </vt:lpstr>
      <vt:lpstr>Карта идеального состояния процесса «Оптимизация процесса сменяемости посещения воспитанниками образовательных центров  ДОО путем использования экрана передвижения групп»  </vt:lpstr>
      <vt:lpstr>   Карта целевого состояния  «Оптимизация процесса сменяемости посещения воспитанниками образовательных центров  ДОО путем использования экрана передвижения групп» 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365</cp:revision>
  <cp:lastPrinted>2020-10-19T07:26:58Z</cp:lastPrinted>
  <dcterms:created xsi:type="dcterms:W3CDTF">2018-08-20T14:01:12Z</dcterms:created>
  <dcterms:modified xsi:type="dcterms:W3CDTF">2020-11-30T12:19:27Z</dcterms:modified>
</cp:coreProperties>
</file>